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sldIdLst>
    <p:sldId id="257" r:id="rId3"/>
    <p:sldId id="258" r:id="rId4"/>
  </p:sldIdLst>
  <p:sldSz cx="12192000" cy="6858000"/>
  <p:notesSz cx="7102475" cy="938847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13"/>
    <p:restoredTop sz="94706"/>
  </p:normalViewPr>
  <p:slideViewPr>
    <p:cSldViewPr snapToGrid="0">
      <p:cViewPr>
        <p:scale>
          <a:sx n="92" d="100"/>
          <a:sy n="92" d="100"/>
        </p:scale>
        <p:origin x="2432" y="1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sv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2.jpg"/><Relationship Id="rId5" Type="http://schemas.openxmlformats.org/officeDocument/2006/relationships/tags" Target="../tags/tag27.xml"/><Relationship Id="rId15" Type="http://schemas.openxmlformats.org/officeDocument/2006/relationships/image" Target="../media/image5.emf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7.emf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1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0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16.xml"/><Relationship Id="rId7" Type="http://schemas.openxmlformats.org/officeDocument/2006/relationships/image" Target="../media/image8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.jp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emf"/><Relationship Id="rId4" Type="http://schemas.openxmlformats.org/officeDocument/2006/relationships/tags" Target="../tags/tag117.xml"/><Relationship Id="rId9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image" Target="../media/image4.sv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image" Target="../media/image3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image" Target="../media/image2.jpg"/><Relationship Id="rId5" Type="http://schemas.openxmlformats.org/officeDocument/2006/relationships/tags" Target="../tags/tag143.xml"/><Relationship Id="rId15" Type="http://schemas.openxmlformats.org/officeDocument/2006/relationships/image" Target="../media/image5.emf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10" Type="http://schemas.openxmlformats.org/officeDocument/2006/relationships/image" Target="../media/image1.emf"/><Relationship Id="rId4" Type="http://schemas.openxmlformats.org/officeDocument/2006/relationships/tags" Target="../tags/tag151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9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10" Type="http://schemas.openxmlformats.org/officeDocument/2006/relationships/image" Target="../media/image6.emf"/><Relationship Id="rId4" Type="http://schemas.openxmlformats.org/officeDocument/2006/relationships/tags" Target="../tags/tag172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image" Target="../media/image1.emf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8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9.xml"/><Relationship Id="rId9" Type="http://schemas.openxmlformats.org/officeDocument/2006/relationships/tags" Target="../tags/tag18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image" Target="../media/image1.emf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8.xml"/><Relationship Id="rId9" Type="http://schemas.openxmlformats.org/officeDocument/2006/relationships/tags" Target="../tags/tag19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10.emf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9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1.emf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image" Target="../media/image10.emf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12" Type="http://schemas.openxmlformats.org/officeDocument/2006/relationships/image" Target="../media/image10.emf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tags" Target="../tags/tag226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4.xml"/><Relationship Id="rId9" Type="http://schemas.openxmlformats.org/officeDocument/2006/relationships/tags" Target="../tags/tag229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image" Target="../media/image1.emf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3.xml"/><Relationship Id="rId9" Type="http://schemas.openxmlformats.org/officeDocument/2006/relationships/tags" Target="../tags/tag23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image" Target="../media/image1.emf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2.xml"/><Relationship Id="rId9" Type="http://schemas.openxmlformats.org/officeDocument/2006/relationships/tags" Target="../tags/tag24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2.xml"/><Relationship Id="rId4" Type="http://schemas.openxmlformats.org/officeDocument/2006/relationships/tags" Target="../tags/tag25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6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59.xml"/><Relationship Id="rId7" Type="http://schemas.openxmlformats.org/officeDocument/2006/relationships/image" Target="../media/image8.png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image" Target="../media/image2.jpg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5.emf"/><Relationship Id="rId4" Type="http://schemas.openxmlformats.org/officeDocument/2006/relationships/tags" Target="../tags/tag260.xml"/><Relationship Id="rId9" Type="http://schemas.openxmlformats.org/officeDocument/2006/relationships/oleObject" Target="../embeddings/oleObject2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6.emf"/><Relationship Id="rId4" Type="http://schemas.openxmlformats.org/officeDocument/2006/relationships/tags" Target="../tags/tag56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image" Target="../media/image1.emf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ackground">
            <a:extLst>
              <a:ext uri="{FF2B5EF4-FFF2-40B4-BE49-F238E27FC236}">
                <a16:creationId xmlns:a16="http://schemas.microsoft.com/office/drawing/2014/main" id="{BCFEF986-9186-F0C0-29CC-344333767E3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artnership">
            <a:extLst>
              <a:ext uri="{FF2B5EF4-FFF2-40B4-BE49-F238E27FC236}">
                <a16:creationId xmlns:a16="http://schemas.microsoft.com/office/drawing/2014/main" id="{FB5CAFB0-12DB-3ECB-96AD-62B18CAF3BA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4" imgH="344" progId="TCLayout.ActiveDocument.1">
                  <p:embed/>
                </p:oleObj>
              </mc:Choice>
              <mc:Fallback>
                <p:oleObj name="think-cell Slide" r:id="rId14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49772D7-BAE9-BB95-C2D5-92588AD0D7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 dirty="0">
                <a:solidFill>
                  <a:schemeClr val="tx2"/>
                </a:solidFill>
                <a:latin typeface="+mn-lt"/>
              </a:rPr>
              <a:t>CONFIDENTIAL AND PROPRIETARY | © [#] McKinsey &amp; Company. </a:t>
            </a:r>
          </a:p>
          <a:p>
            <a:pPr defTabSz="804863" eaLnBrk="0" hangingPunct="0"/>
            <a:r>
              <a:rPr lang="en-US" sz="750" dirty="0">
                <a:solidFill>
                  <a:schemeClr val="tx2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ackground">
            <a:extLst>
              <a:ext uri="{FF2B5EF4-FFF2-40B4-BE49-F238E27FC236}">
                <a16:creationId xmlns:a16="http://schemas.microsoft.com/office/drawing/2014/main" id="{7F09DF09-7587-AE72-141E-A41B41F9445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artnership">
            <a:extLst>
              <a:ext uri="{FF2B5EF4-FFF2-40B4-BE49-F238E27FC236}">
                <a16:creationId xmlns:a16="http://schemas.microsoft.com/office/drawing/2014/main" id="{90886F1E-7A28-AA11-3C3E-8B020F3D98D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logoimage">
            <a:extLst>
              <a:ext uri="{FF2B5EF4-FFF2-40B4-BE49-F238E27FC236}">
                <a16:creationId xmlns:a16="http://schemas.microsoft.com/office/drawing/2014/main" id="{732728C7-2C89-08A1-41A9-162BDB8C5CB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49271" y="481160"/>
            <a:ext cx="1893201" cy="585216"/>
            <a:chOff x="549271" y="481160"/>
            <a:chExt cx="1893201" cy="585216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49271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49271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ackground">
            <a:extLst>
              <a:ext uri="{FF2B5EF4-FFF2-40B4-BE49-F238E27FC236}">
                <a16:creationId xmlns:a16="http://schemas.microsoft.com/office/drawing/2014/main" id="{0E1AA1CA-B589-A148-3F5A-385105B9B6B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artnership">
            <a:extLst>
              <a:ext uri="{FF2B5EF4-FFF2-40B4-BE49-F238E27FC236}">
                <a16:creationId xmlns:a16="http://schemas.microsoft.com/office/drawing/2014/main" id="{A820C1EA-1C46-FBE2-06AE-01690E3DC46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4" imgH="344" progId="TCLayout.ActiveDocument.1">
                  <p:embed/>
                </p:oleObj>
              </mc:Choice>
              <mc:Fallback>
                <p:oleObj name="think-cell Slide" r:id="rId14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 dirty="0">
                <a:solidFill>
                  <a:schemeClr val="tx1"/>
                </a:solidFill>
                <a:latin typeface="+mn-lt"/>
              </a:rPr>
              <a:t>CONFIDENTIAL AND PROPRIETARY | © [#] McKinsey &amp; Company. </a:t>
            </a:r>
          </a:p>
          <a:p>
            <a:pPr defTabSz="804863" eaLnBrk="0" hangingPunct="0"/>
            <a:r>
              <a:rPr lang="en-US" sz="750" dirty="0">
                <a:solidFill>
                  <a:schemeClr val="tx1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</a:p>
        </p:txBody>
      </p:sp>
      <p:grpSp>
        <p:nvGrpSpPr>
          <p:cNvPr id="11" name="logoimage">
            <a:extLst>
              <a:ext uri="{FF2B5EF4-FFF2-40B4-BE49-F238E27FC236}">
                <a16:creationId xmlns:a16="http://schemas.microsoft.com/office/drawing/2014/main" id="{1CF91F61-1A9C-80E4-FFA2-69DB20BBACC3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94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7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3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4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06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8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75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5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CA123D5B-74B8-F064-78F4-0D9EDB03334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artnership">
            <a:extLst>
              <a:ext uri="{FF2B5EF4-FFF2-40B4-BE49-F238E27FC236}">
                <a16:creationId xmlns:a16="http://schemas.microsoft.com/office/drawing/2014/main" id="{62BD8777-62CB-D677-D858-25EAEF1734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AD0997EF-FD61-992F-A8FF-31AE0FC310F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5.xml"/><Relationship Id="rId39" Type="http://schemas.openxmlformats.org/officeDocument/2006/relationships/tags" Target="../tags/tag138.xml"/><Relationship Id="rId21" Type="http://schemas.openxmlformats.org/officeDocument/2006/relationships/tags" Target="../tags/tag120.xml"/><Relationship Id="rId34" Type="http://schemas.openxmlformats.org/officeDocument/2006/relationships/tags" Target="../tags/tag133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9.xml"/><Relationship Id="rId29" Type="http://schemas.openxmlformats.org/officeDocument/2006/relationships/tags" Target="../tags/tag128.xml"/><Relationship Id="rId41" Type="http://schemas.openxmlformats.org/officeDocument/2006/relationships/image" Target="../media/image5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3.xml"/><Relationship Id="rId32" Type="http://schemas.openxmlformats.org/officeDocument/2006/relationships/tags" Target="../tags/tag131.xml"/><Relationship Id="rId37" Type="http://schemas.openxmlformats.org/officeDocument/2006/relationships/tags" Target="../tags/tag136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2.xml"/><Relationship Id="rId28" Type="http://schemas.openxmlformats.org/officeDocument/2006/relationships/tags" Target="../tags/tag127.xml"/><Relationship Id="rId36" Type="http://schemas.openxmlformats.org/officeDocument/2006/relationships/tags" Target="../tags/tag135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8.xml"/><Relationship Id="rId31" Type="http://schemas.openxmlformats.org/officeDocument/2006/relationships/tags" Target="../tags/tag130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21.xml"/><Relationship Id="rId27" Type="http://schemas.openxmlformats.org/officeDocument/2006/relationships/tags" Target="../tags/tag126.xml"/><Relationship Id="rId30" Type="http://schemas.openxmlformats.org/officeDocument/2006/relationships/tags" Target="../tags/tag129.xml"/><Relationship Id="rId35" Type="http://schemas.openxmlformats.org/officeDocument/2006/relationships/tags" Target="../tags/tag134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4.xml"/><Relationship Id="rId33" Type="http://schemas.openxmlformats.org/officeDocument/2006/relationships/tags" Target="../tags/tag132.xml"/><Relationship Id="rId38" Type="http://schemas.openxmlformats.org/officeDocument/2006/relationships/tags" Target="../tags/tag1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6443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microsoft.com/office/2007/relationships/hdphoto" Target="../media/hdphoto1.wdp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1.png"/><Relationship Id="rId1" Type="http://schemas.openxmlformats.org/officeDocument/2006/relationships/tags" Target="../tags/tag261.xml"/><Relationship Id="rId6" Type="http://schemas.microsoft.com/office/2007/relationships/hdphoto" Target="../media/hdphoto2.wdp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image" Target="../media/image22.emf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18CB2-22A0-D7D5-50D6-BC3609E48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80ABE-4730-6A19-14BD-46F1B45227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DF60A0-44D1-A137-1B9C-32CCF07779C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close up of a white surface&#10;&#10;Description automatically generated">
            <a:extLst>
              <a:ext uri="{FF2B5EF4-FFF2-40B4-BE49-F238E27FC236}">
                <a16:creationId xmlns:a16="http://schemas.microsoft.com/office/drawing/2014/main" id="{9F7376C2-FE07-CE73-7A19-E4F10014AD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5400000">
            <a:off x="2667002" y="-2666997"/>
            <a:ext cx="6857998" cy="1219200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118B2D-1BE9-EE79-43D0-A88A37D72DB0}"/>
              </a:ext>
            </a:extLst>
          </p:cNvPr>
          <p:cNvSpPr/>
          <p:nvPr/>
        </p:nvSpPr>
        <p:spPr>
          <a:xfrm>
            <a:off x="3212311" y="887377"/>
            <a:ext cx="8979689" cy="5970623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B20636-8660-7675-EF87-954CEC333ECB}"/>
              </a:ext>
            </a:extLst>
          </p:cNvPr>
          <p:cNvSpPr txBox="1"/>
          <p:nvPr/>
        </p:nvSpPr>
        <p:spPr>
          <a:xfrm>
            <a:off x="4551456" y="3199393"/>
            <a:ext cx="2608296" cy="14465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800" i="1" dirty="0" err="1">
                <a:latin typeface="Avenir Next Condensed Ultra Lig" panose="020B0206020202020204" pitchFamily="34" charset="77"/>
              </a:rPr>
              <a:t>info@elcreatas.com</a:t>
            </a:r>
            <a:endParaRPr lang="en-US" sz="2800" i="1" dirty="0">
              <a:latin typeface="Avenir Next Condensed Ultra Lig" panose="020B0206020202020204" pitchFamily="34" charset="77"/>
            </a:endParaRPr>
          </a:p>
          <a:p>
            <a:r>
              <a:rPr lang="en-US" sz="2800" i="1" dirty="0">
                <a:latin typeface="Avenir Next Condensed Ultra Lig" panose="020B0206020202020204" pitchFamily="34" charset="77"/>
              </a:rPr>
              <a:t>@</a:t>
            </a:r>
            <a:r>
              <a:rPr lang="en-US" sz="2800" i="1" dirty="0" err="1">
                <a:latin typeface="Avenir Next Condensed Ultra Lig" panose="020B0206020202020204" pitchFamily="34" charset="77"/>
              </a:rPr>
              <a:t>elcreatas</a:t>
            </a:r>
            <a:endParaRPr lang="en-US" sz="2800" i="1" dirty="0">
              <a:latin typeface="Avenir Next Condensed Ultra Lig" panose="020B0206020202020204" pitchFamily="34" charset="77"/>
            </a:endParaRPr>
          </a:p>
          <a:p>
            <a:endParaRPr lang="en-US" sz="2800" i="1" dirty="0">
              <a:latin typeface="Avenir Next Condensed Ultra Lig" panose="020B0206020202020204" pitchFamily="34" charset="77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FCDCC66-594F-6E9A-5429-612CA83645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07515" y="3196895"/>
            <a:ext cx="2505330" cy="251709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756C1C-7A8F-C514-337E-2151F0C1C39C}"/>
              </a:ext>
            </a:extLst>
          </p:cNvPr>
          <p:cNvSpPr txBox="1"/>
          <p:nvPr/>
        </p:nvSpPr>
        <p:spPr>
          <a:xfrm>
            <a:off x="8807935" y="5760389"/>
            <a:ext cx="250489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3200" i="1" dirty="0" err="1">
                <a:latin typeface="Avenir Next Condensed Ultra Lig" panose="020B0206020202020204" pitchFamily="34" charset="77"/>
              </a:rPr>
              <a:t>www.elcreatas.com</a:t>
            </a:r>
            <a:endParaRPr lang="en-US" sz="3200" i="1" dirty="0">
              <a:latin typeface="Avenir Next Condensed Ultra Lig" panose="020B02060202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CC000FB-A8CD-D519-308E-98AF3F3C9849}"/>
              </a:ext>
            </a:extLst>
          </p:cNvPr>
          <p:cNvCxnSpPr>
            <a:cxnSpLocks/>
          </p:cNvCxnSpPr>
          <p:nvPr/>
        </p:nvCxnSpPr>
        <p:spPr>
          <a:xfrm>
            <a:off x="7932150" y="3199393"/>
            <a:ext cx="0" cy="3658607"/>
          </a:xfrm>
          <a:prstGeom prst="line">
            <a:avLst/>
          </a:prstGeom>
          <a:ln w="25400">
            <a:solidFill>
              <a:srgbClr val="E6D7BC">
                <a:alpha val="60000"/>
              </a:srgbClr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1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3593EF7-F41C-E294-2D37-01CC41C3E6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7193" y="1027425"/>
            <a:ext cx="2986033" cy="18900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CACF48E-6BD9-B9EF-1A16-D8D0BA539B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9720" y="3703070"/>
            <a:ext cx="359172" cy="35917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D091F6F-3EC9-0CD5-9960-548B036779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8945" y="3210455"/>
            <a:ext cx="359947" cy="35994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7F3812A-B7E8-1BEE-2D1B-C9BBA6D2DB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78945" y="4645943"/>
            <a:ext cx="929015" cy="54950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8E961F8-E689-49F2-3FE9-709683474A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54831" y="4631837"/>
            <a:ext cx="929016" cy="56361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AB75B0A-9319-AE60-0AB3-8F19810FF2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35494" y="4641204"/>
            <a:ext cx="903456" cy="52573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C9689E9-0331-1957-C1D9-5863944980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40351" y="5700703"/>
            <a:ext cx="929013" cy="68260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846C6DC-EFBF-561A-FBB1-7938CDC2362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54830" y="5819691"/>
            <a:ext cx="967741" cy="56361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C5CF005-81FF-F230-DD02-58DB8FF0610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08037" y="5760389"/>
            <a:ext cx="767110" cy="617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726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163DE84-E078-16A3-D44F-4F09520060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4488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lose up of a white surface&#10;&#10;Description automatically generated">
            <a:extLst>
              <a:ext uri="{FF2B5EF4-FFF2-40B4-BE49-F238E27FC236}">
                <a16:creationId xmlns:a16="http://schemas.microsoft.com/office/drawing/2014/main" id="{9F7376C2-FE07-CE73-7A19-E4F10014AD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5400000">
            <a:off x="2667000" y="-2667000"/>
            <a:ext cx="6857998" cy="121920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118B2D-1BE9-EE79-43D0-A88A37D72DB0}"/>
              </a:ext>
            </a:extLst>
          </p:cNvPr>
          <p:cNvSpPr/>
          <p:nvPr/>
        </p:nvSpPr>
        <p:spPr>
          <a:xfrm>
            <a:off x="3212311" y="887377"/>
            <a:ext cx="8979689" cy="5970623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B20636-8660-7675-EF87-954CEC333ECB}"/>
              </a:ext>
            </a:extLst>
          </p:cNvPr>
          <p:cNvSpPr txBox="1"/>
          <p:nvPr/>
        </p:nvSpPr>
        <p:spPr>
          <a:xfrm>
            <a:off x="4551456" y="3199393"/>
            <a:ext cx="2608296" cy="14465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800" i="1" dirty="0" err="1">
                <a:latin typeface="Avenir Next Condensed Ultra Lig" panose="020B0206020202020204" pitchFamily="34" charset="77"/>
              </a:rPr>
              <a:t>info@elcreatas.com</a:t>
            </a:r>
            <a:endParaRPr lang="en-US" sz="2800" i="1" dirty="0">
              <a:latin typeface="Avenir Next Condensed Ultra Lig" panose="020B0206020202020204" pitchFamily="34" charset="77"/>
            </a:endParaRPr>
          </a:p>
          <a:p>
            <a:r>
              <a:rPr lang="en-US" sz="2800" i="1" dirty="0">
                <a:latin typeface="Avenir Next Condensed Ultra Lig" panose="020B0206020202020204" pitchFamily="34" charset="77"/>
              </a:rPr>
              <a:t>@</a:t>
            </a:r>
            <a:r>
              <a:rPr lang="en-US" sz="2800" i="1" dirty="0" err="1">
                <a:latin typeface="Avenir Next Condensed Ultra Lig" panose="020B0206020202020204" pitchFamily="34" charset="77"/>
              </a:rPr>
              <a:t>elcreatas</a:t>
            </a:r>
            <a:endParaRPr lang="en-US" sz="2800" i="1" dirty="0">
              <a:latin typeface="Avenir Next Condensed Ultra Lig" panose="020B0206020202020204" pitchFamily="34" charset="77"/>
            </a:endParaRPr>
          </a:p>
          <a:p>
            <a:endParaRPr lang="en-US" sz="2800" i="1" dirty="0">
              <a:latin typeface="Avenir Next Condensed Ultra Lig" panose="020B0206020202020204" pitchFamily="34" charset="77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FCDCC66-594F-6E9A-5429-612CA83645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07515" y="3196895"/>
            <a:ext cx="2505330" cy="251709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756C1C-7A8F-C514-337E-2151F0C1C39C}"/>
              </a:ext>
            </a:extLst>
          </p:cNvPr>
          <p:cNvSpPr txBox="1"/>
          <p:nvPr/>
        </p:nvSpPr>
        <p:spPr>
          <a:xfrm>
            <a:off x="8807935" y="5760389"/>
            <a:ext cx="250489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3200" i="1" dirty="0" err="1">
                <a:latin typeface="Avenir Next Condensed Ultra Lig" panose="020B0206020202020204" pitchFamily="34" charset="77"/>
              </a:rPr>
              <a:t>www.elcreatas.com</a:t>
            </a:r>
            <a:endParaRPr lang="en-US" sz="3200" i="1" dirty="0">
              <a:latin typeface="Avenir Next Condensed Ultra Lig" panose="020B02060202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CC000FB-A8CD-D519-308E-98AF3F3C9849}"/>
              </a:ext>
            </a:extLst>
          </p:cNvPr>
          <p:cNvCxnSpPr>
            <a:cxnSpLocks/>
          </p:cNvCxnSpPr>
          <p:nvPr/>
        </p:nvCxnSpPr>
        <p:spPr>
          <a:xfrm>
            <a:off x="7932150" y="3199393"/>
            <a:ext cx="0" cy="3658607"/>
          </a:xfrm>
          <a:prstGeom prst="line">
            <a:avLst/>
          </a:prstGeom>
          <a:ln w="25400">
            <a:solidFill>
              <a:srgbClr val="E6D7BC">
                <a:alpha val="60000"/>
              </a:srgbClr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1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3593EF7-F41C-E294-2D37-01CC41C3E63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7193" y="1027425"/>
            <a:ext cx="2986033" cy="18900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CACF48E-6BD9-B9EF-1A16-D8D0BA539B1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79720" y="3703070"/>
            <a:ext cx="359172" cy="35917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D091F6F-3EC9-0CD5-9960-548B0367797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78945" y="3210455"/>
            <a:ext cx="359947" cy="35994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7F3812A-B7E8-1BEE-2D1B-C9BBA6D2DBF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78945" y="4645943"/>
            <a:ext cx="929015" cy="54950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8E961F8-E689-49F2-3FE9-709683474A7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54831" y="4631837"/>
            <a:ext cx="929016" cy="56361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AB75B0A-9319-AE60-0AB3-8F19810FF2E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35494" y="4641204"/>
            <a:ext cx="903456" cy="52573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C9689E9-0331-1957-C1D9-58639449807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040351" y="5700703"/>
            <a:ext cx="929013" cy="68260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846C6DC-EFBF-561A-FBB1-7938CDC2362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254830" y="5819691"/>
            <a:ext cx="967741" cy="56361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C5CF005-81FF-F230-DD02-58DB8FF0610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508037" y="5760389"/>
            <a:ext cx="767110" cy="617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842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VI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COLOR" val="me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heme/theme1.xml><?xml version="1.0" encoding="utf-8"?>
<a:theme xmlns:a="http://schemas.openxmlformats.org/drawingml/2006/main" name="Theme1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Theme1" id="{B68AE9AA-223E-0242-A057-FAB4E53D89EB}" vid="{8EFAC817-59B7-134B-84B1-B38DCBAD6F20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71102F81-DA1B-4373-A821-C3918CE188D6}" vid="{AC179618-6A7A-43A7-9E69-F85B85F2136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858</TotalTime>
  <Words>24</Words>
  <Application>Microsoft Macintosh PowerPoint</Application>
  <PresentationFormat>Widescreen</PresentationFormat>
  <Paragraphs>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Avenir Next Condensed Ultra Lig</vt:lpstr>
      <vt:lpstr>Georgia</vt:lpstr>
      <vt:lpstr>Segoe UI</vt:lpstr>
      <vt:lpstr>Wingdings</vt:lpstr>
      <vt:lpstr>Theme1</vt:lpstr>
      <vt:lpstr>Contrast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lton Alves Ribeiro</dc:creator>
  <cp:lastModifiedBy>Elton Alves Ribeiro</cp:lastModifiedBy>
  <cp:revision>1</cp:revision>
  <dcterms:created xsi:type="dcterms:W3CDTF">2024-08-26T17:38:44Z</dcterms:created>
  <dcterms:modified xsi:type="dcterms:W3CDTF">2024-08-27T07:56:47Z</dcterms:modified>
</cp:coreProperties>
</file>